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trictFirstAndLastChars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1949113" cy="6721475"/>
  <p:notesSz cx="7099300" cy="1023461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759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353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0294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7055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3820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0584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7347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4112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7" userDrawn="1">
          <p15:clr>
            <a:srgbClr val="A4A3A4"/>
          </p15:clr>
        </p15:guide>
        <p15:guide id="2" pos="37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C2D8"/>
    <a:srgbClr val="B1C6DB"/>
    <a:srgbClr val="CCDAE8"/>
    <a:srgbClr val="080808"/>
    <a:srgbClr val="F1F5F9"/>
    <a:srgbClr val="E1E9F1"/>
    <a:srgbClr val="808080"/>
    <a:srgbClr val="C30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779" autoAdjust="0"/>
    <p:restoredTop sz="94799" autoAdjust="0"/>
  </p:normalViewPr>
  <p:slideViewPr>
    <p:cSldViewPr snapToGrid="0">
      <p:cViewPr varScale="1">
        <p:scale>
          <a:sx n="107" d="100"/>
          <a:sy n="107" d="100"/>
        </p:scale>
        <p:origin x="-84" y="-738"/>
      </p:cViewPr>
      <p:guideLst>
        <p:guide orient="horz" pos="2117"/>
        <p:guide pos="37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2142" y="-72"/>
      </p:cViewPr>
      <p:guideLst>
        <p:guide orient="horz" pos="3224"/>
        <p:guide pos="223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5803AF6-863C-4E79-B0E4-DA9EF3C26513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16160561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7099300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3588"/>
            <a:ext cx="6829425" cy="3843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5688"/>
            <a:ext cx="5203825" cy="460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zh-TW" noProof="0" smtClean="0"/>
              <a:t>Click to edit Master text styles</a:t>
            </a:r>
          </a:p>
          <a:p>
            <a:pPr lvl="1"/>
            <a:r>
              <a:rPr lang="de-DE" altLang="zh-TW" noProof="0" smtClean="0"/>
              <a:t>Second level</a:t>
            </a:r>
          </a:p>
          <a:p>
            <a:pPr lvl="2"/>
            <a:r>
              <a:rPr lang="de-DE" altLang="zh-TW" noProof="0" smtClean="0"/>
              <a:t>Third level</a:t>
            </a:r>
          </a:p>
          <a:p>
            <a:pPr lvl="3"/>
            <a:r>
              <a:rPr lang="de-DE" altLang="zh-TW" noProof="0" smtClean="0"/>
              <a:t>Fourth level</a:t>
            </a:r>
          </a:p>
          <a:p>
            <a:pPr lvl="4"/>
            <a:r>
              <a:rPr lang="de-DE" altLang="zh-TW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33C40E2-8272-4AE7-AB34-08FFCFB9342A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318986418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675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353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029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705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3820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584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347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112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951743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banner_hom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" y="2169432"/>
            <a:ext cx="6969138" cy="2382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7135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969780" y="3644467"/>
            <a:ext cx="4979347" cy="907576"/>
          </a:xfrm>
        </p:spPr>
        <p:txBody>
          <a:bodyPr/>
          <a:lstStyle>
            <a:lvl1pPr algn="l">
              <a:defRPr sz="2400" b="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807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9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64B81-DDF4-4C7E-9C3D-A4C47BE53E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352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14" y="3"/>
            <a:ext cx="10429861" cy="5762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179828" tIns="44725" rIns="179828" bIns="447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dirty="0" smtClean="0"/>
              <a:t>ACTION TITLE</a:t>
            </a:r>
          </a:p>
        </p:txBody>
      </p:sp>
      <p:sp>
        <p:nvSpPr>
          <p:cNvPr id="216159" name="Rectangle 9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55705" y="6348413"/>
            <a:ext cx="1693408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50" tIns="44725" rIns="89450" bIns="44725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90000"/>
              </a:lnSpc>
              <a:spcBef>
                <a:spcPct val="0"/>
              </a:spcBef>
              <a:defRPr sz="16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BE92BC5-E33B-412F-87DB-DE8801275F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Line 1129"/>
          <p:cNvSpPr>
            <a:spLocks noChangeShapeType="1"/>
          </p:cNvSpPr>
          <p:nvPr/>
        </p:nvSpPr>
        <p:spPr bwMode="auto">
          <a:xfrm>
            <a:off x="0" y="6348413"/>
            <a:ext cx="11949113" cy="0"/>
          </a:xfrm>
          <a:prstGeom prst="line">
            <a:avLst/>
          </a:prstGeom>
          <a:noFill/>
          <a:ln w="38100">
            <a:solidFill>
              <a:srgbClr val="92D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19891" tIns="62344" rIns="119891" bIns="62344" anchor="ctr">
            <a:spAutoFit/>
          </a:bodyPr>
          <a:lstStyle/>
          <a:p>
            <a:endParaRPr lang="en-US" sz="3200"/>
          </a:p>
        </p:txBody>
      </p:sp>
      <p:graphicFrame>
        <p:nvGraphicFramePr>
          <p:cNvPr id="1030" name="Rectangle 2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8523327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0" y="703263"/>
            <a:ext cx="11949113" cy="56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79828" tIns="35967" rIns="179828" bIns="456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176" y="131619"/>
            <a:ext cx="1290638" cy="30826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37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2pPr>
      <a:lvl3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3pPr>
      <a:lvl4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4pPr>
      <a:lvl5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5pPr>
      <a:lvl6pPr marL="609073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6pPr>
      <a:lvl7pPr marL="121816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7pPr>
      <a:lvl8pPr marL="182724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8pPr>
      <a:lvl9pPr marL="2436316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43209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471614" indent="-228405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+mn-lt"/>
        </a:defRPr>
      </a:lvl3pPr>
      <a:lvl4pPr marL="714822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▫"/>
        <a:defRPr sz="1800">
          <a:solidFill>
            <a:schemeClr val="tx1"/>
          </a:solidFill>
          <a:latin typeface="+mn-lt"/>
        </a:defRPr>
      </a:lvl4pPr>
      <a:lvl5pPr marL="958033" indent="-243209" algn="l" defTabSz="958033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▪"/>
        <a:defRPr sz="1800">
          <a:solidFill>
            <a:schemeClr val="tx1"/>
          </a:solidFill>
          <a:latin typeface="+mn-lt"/>
        </a:defRPr>
      </a:lvl5pPr>
      <a:lvl6pPr marL="1355628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6pPr>
      <a:lvl7pPr marL="196470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7pPr>
      <a:lvl8pPr marL="2573783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8pPr>
      <a:lvl9pPr marL="318286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73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6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24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31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99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47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5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63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oleObject" Target="../embeddings/oleObject3.bin"/><Relationship Id="rId3" Type="http://schemas.openxmlformats.org/officeDocument/2006/relationships/tags" Target="../tags/tag6.xml"/><Relationship Id="rId21" Type="http://schemas.openxmlformats.org/officeDocument/2006/relationships/image" Target="../media/image4.emf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19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2849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7" name="think-cell Slide" r:id="rId18" imgW="383" imgH="385" progId="TCLayout.ActiveDocument.1">
                  <p:embed/>
                </p:oleObj>
              </mc:Choice>
              <mc:Fallback>
                <p:oleObj name="think-cell Slide" r:id="rId18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-61197" y="-64831"/>
            <a:ext cx="281145" cy="288413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/>
            <a:endParaRPr kumimoji="0" lang="en-US" sz="1400" b="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rea Char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A64B81-DDF4-4C7E-9C3D-A4C47BE53E61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  <p:graphicFrame>
        <p:nvGraphicFramePr>
          <p:cNvPr id="87" name="Object 8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4743924"/>
              </p:ext>
            </p:extLst>
          </p:nvPr>
        </p:nvGraphicFramePr>
        <p:xfrm>
          <a:off x="571500" y="1181100"/>
          <a:ext cx="9782089" cy="46289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8" name="Chart" r:id="rId20" imgW="9782089" imgH="4628982" progId="MSGraph.Chart.8">
                  <p:embed followColorScheme="full"/>
                </p:oleObj>
              </mc:Choice>
              <mc:Fallback>
                <p:oleObj name="Chart" r:id="rId20" imgW="9782089" imgH="462898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571500" y="1181100"/>
                        <a:ext cx="9782089" cy="46289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Text Placeholder 98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106863" y="3446463"/>
            <a:ext cx="149225" cy="212725"/>
          </a:xfrm>
          <a:prstGeom prst="rect">
            <a:avLst/>
          </a:prstGeom>
          <a:solidFill>
            <a:srgbClr val="9DB1CF"/>
          </a:solidFill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937D6CD-2291-4B05-86EB-8FC2203B42CF}" type="datetime'''''''''''5'''''''''''''''''''''''''''''''''''''''''''''''''">
              <a:rPr lang="en-US" sz="1400" b="0"/>
              <a:pPr/>
              <a:t>5</a:t>
            </a:fld>
            <a:endParaRPr lang="en-US" sz="1400" b="0" kern="0" dirty="0">
              <a:sym typeface="+mn-lt"/>
            </a:endParaRPr>
          </a:p>
        </p:txBody>
      </p:sp>
      <p:sp>
        <p:nvSpPr>
          <p:cNvPr id="89" name="Text Placeholder 9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0404475" y="2541588"/>
            <a:ext cx="5619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271056B8-1DA2-47CE-97FD-E4C723E37E3C}" type="datetime'''A''''''i''''r'''' ''''b''''''''''''''''''''''''''''a''''g'">
              <a:rPr lang="en-US" sz="1400" b="0"/>
              <a:pPr/>
              <a:t>Air bag</a:t>
            </a:fld>
            <a:endParaRPr lang="en-US" sz="1400" b="0" kern="0" dirty="0">
              <a:sym typeface="+mn-lt"/>
            </a:endParaRPr>
          </a:p>
        </p:txBody>
      </p:sp>
      <p:sp>
        <p:nvSpPr>
          <p:cNvPr id="90" name="Text Placeholder 94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0404475" y="3336925"/>
            <a:ext cx="5524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BB319F41-43D1-4ED5-9C26-A6506D57EA2A}" type="datetime'''E''''n''g''''''''''''''i''''''''n''''''''e'''''''">
              <a:rPr lang="en-US" sz="1400" b="0"/>
              <a:pPr/>
              <a:t>Engine</a:t>
            </a:fld>
            <a:endParaRPr lang="en-US" sz="1400" b="0" kern="0" dirty="0">
              <a:sym typeface="+mn-lt"/>
            </a:endParaRPr>
          </a:p>
        </p:txBody>
      </p:sp>
      <p:sp>
        <p:nvSpPr>
          <p:cNvPr id="91" name="Text Placeholder 87"/>
          <p:cNvSpPr txBox="1">
            <a:spLocks/>
          </p:cNvSpPr>
          <p:nvPr>
            <p:custDataLst>
              <p:tags r:id="rId8"/>
            </p:custDataLst>
          </p:nvPr>
        </p:nvSpPr>
        <p:spPr bwMode="auto">
          <a:xfrm>
            <a:off x="3984625" y="5657850"/>
            <a:ext cx="393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07FEEBA-9001-46A6-9244-866E28A99A45}" type="datetime'''''''''''''''''''2''''''''''''''''''0''1''''''''''''''''1'''">
              <a:rPr lang="en-US" sz="1400" b="0"/>
              <a:pPr/>
              <a:t>2011</a:t>
            </a:fld>
            <a:endParaRPr lang="en-US" sz="1400" b="0" kern="0" dirty="0">
              <a:sym typeface="+mn-lt"/>
            </a:endParaRPr>
          </a:p>
        </p:txBody>
      </p:sp>
      <p:sp>
        <p:nvSpPr>
          <p:cNvPr id="92" name="Text Placeholder 86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939800" y="56578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D3CAC3A6-8013-4822-B7B8-F62BD5486A3B}" type="datetime'''''''''''''''''''2''0''''''''''''1''''''''''''''''''''0'">
              <a:rPr lang="en-US" sz="1400" b="0"/>
              <a:pPr/>
              <a:t>2010</a:t>
            </a:fld>
            <a:endParaRPr lang="en-US" sz="1400" b="0" kern="0" dirty="0">
              <a:sym typeface="+mn-lt"/>
            </a:endParaRPr>
          </a:p>
        </p:txBody>
      </p:sp>
      <p:sp>
        <p:nvSpPr>
          <p:cNvPr id="93" name="Text Placeholder 93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10404475" y="2846388"/>
            <a:ext cx="9159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25592519-3CAD-4A5F-9822-9DED5B8A7241}" type="datetime'''Ha''''''''''''''''''n''''''''d'''''' ''''br''ak''''e'''''">
              <a:rPr lang="en-US" sz="1400" b="0"/>
              <a:pPr/>
              <a:t>Hand brake</a:t>
            </a:fld>
            <a:endParaRPr lang="en-US" sz="1400" b="0" kern="0" dirty="0">
              <a:sym typeface="+mn-lt"/>
            </a:endParaRPr>
          </a:p>
        </p:txBody>
      </p:sp>
      <p:sp>
        <p:nvSpPr>
          <p:cNvPr id="94" name="Text Placeholder 88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7016750" y="56578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470FFFB-F1C3-42D0-8506-7E726728DFBD}" type="datetime'''''2''''0''12'''''''''''''''''''''''''''''''''''''''">
              <a:rPr lang="en-US" sz="1400" b="0"/>
              <a:pPr/>
              <a:t>2012</a:t>
            </a:fld>
            <a:endParaRPr lang="en-US" sz="1400" b="0" kern="0" dirty="0">
              <a:sym typeface="+mn-lt"/>
            </a:endParaRPr>
          </a:p>
        </p:txBody>
      </p:sp>
      <p:sp>
        <p:nvSpPr>
          <p:cNvPr id="95" name="Text Placeholder 91"/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0404475" y="2232025"/>
            <a:ext cx="4429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896A0A25-5BD2-4968-825C-3F60D37BC460}" type="datetime'''''''Oth''''''''''''e''''r'''''''''''''''''''''''''''">
              <a:rPr lang="en-US" sz="1400" b="0"/>
              <a:pPr/>
              <a:t>Other</a:t>
            </a:fld>
            <a:endParaRPr lang="en-US" sz="1400" b="0" kern="0" dirty="0">
              <a:sym typeface="+mn-lt"/>
            </a:endParaRPr>
          </a:p>
        </p:txBody>
      </p:sp>
      <p:sp>
        <p:nvSpPr>
          <p:cNvPr id="96" name="Text Placeholder 95"/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10404475" y="4537075"/>
            <a:ext cx="7000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CD83CC4A-2B1C-47AC-AF0E-0F02D8695947}" type="datetime'''S''e''''at'''''''''''''''''' be''''''''''''l''t'''">
              <a:rPr lang="en-US" sz="1400" b="0"/>
              <a:pPr/>
              <a:t>Seat belt</a:t>
            </a:fld>
            <a:endParaRPr lang="en-US" sz="1400" b="0" kern="0" dirty="0">
              <a:sym typeface="+mn-lt"/>
            </a:endParaRPr>
          </a:p>
        </p:txBody>
      </p:sp>
      <p:sp>
        <p:nvSpPr>
          <p:cNvPr id="97" name="Text Placeholder 96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10055225" y="56578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A17C5B8-16BE-4C07-9054-03192BADD6AC}" type="datetime'''''''''''2''0''1''''''3'''''''''''''''">
              <a:rPr lang="en-US" sz="1400" b="0"/>
              <a:pPr/>
              <a:t>2013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8" name="Text Placeholder 97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187450" y="4922838"/>
            <a:ext cx="149225" cy="212725"/>
          </a:xfrm>
          <a:prstGeom prst="rect">
            <a:avLst/>
          </a:prstGeom>
          <a:solidFill>
            <a:srgbClr val="6F8DB9"/>
          </a:solidFill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9F7CC90-FC26-4E0F-B0F5-8296C7D3640B}" type="datetime'''''''''''''''''3'''">
              <a:rPr lang="en-US" sz="1400" b="0">
                <a:solidFill>
                  <a:schemeClr val="bg1"/>
                </a:solidFill>
              </a:rPr>
              <a:pPr/>
              <a:t>3</a:t>
            </a:fld>
            <a:endParaRPr lang="en-US" sz="1400" b="0" kern="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9" name="Text Placeholder 99"/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7145338" y="2746375"/>
            <a:ext cx="149225" cy="212725"/>
          </a:xfrm>
          <a:prstGeom prst="rect">
            <a:avLst/>
          </a:prstGeom>
          <a:solidFill>
            <a:srgbClr val="9DB1CF"/>
          </a:solidFill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BF8B456-E377-4124-A96E-80858947228D}" type="datetime'''''''''''''''''''''''''''9'''''''''''''''''''''''''''''''''''">
              <a:rPr lang="en-US" sz="1400" b="0"/>
              <a:pPr/>
              <a:t>9</a:t>
            </a:fld>
            <a:endParaRPr lang="en-US" sz="1400" b="0" kern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79570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02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1&quot;&gt;&lt;elem m_fUsage=&quot;1.00000000000000000000E+000&quot;&gt;&lt;m_msothmcolidx val=&quot;0&quot;/&gt;&lt;m_rgb r=&quot;cf&quot; g=&quot;cf&quot; b=&quot;c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shyPkLiEK8NXUsA4Ii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bw.CUtG0CZ_nqA7WA1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.ChOsqB0qYTGL.VGwu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it1OP0Ikqd0cIZy28g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hUP2.E1UajEPGwEXho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T_dsy0d0eGtY2lxHXH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vFoukRc0W7UvHmxhy3Z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.0F0OpmEGoV7QBa.Vq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iJvxck_Uif3gb5xuqs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orjvTLJk2orRMbn3f_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H6EdDtx6u0C5EOXGQOn_yg"/>
  <p:tag name="THINKCELLSTATEDONOTDELETE" val="JybfW67J70eTncmI9DWa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yBTyVV7dJkO_SA.ZGwD20w"/>
  <p:tag name="THINKCELLIDDONOTDELETE" val="WImSoy1BGk2qeJ_gZBR4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apZ1n4fkuIEU51k6F2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vGHAdlEqToWJwrs7E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Lq3DxUOU2wViBLZaHX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6vi3Hih02l2pcCp0u.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faBWN3bE2W.4zbiJSJzQ"/>
</p:tagLst>
</file>

<file path=ppt/theme/theme1.xml><?xml version="1.0" encoding="utf-8"?>
<a:theme xmlns:a="http://schemas.openxmlformats.org/drawingml/2006/main" name="think-cell Master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FFFFF"/>
      </a:accent1>
      <a:accent2>
        <a:srgbClr val="D8D8D8"/>
      </a:accent2>
      <a:accent3>
        <a:srgbClr val="FFFFFF"/>
      </a:accent3>
      <a:accent4>
        <a:srgbClr val="000000"/>
      </a:accent4>
      <a:accent5>
        <a:srgbClr val="FFFFFF"/>
      </a:accent5>
      <a:accent6>
        <a:srgbClr val="CCD3DA"/>
      </a:accent6>
      <a:hlink>
        <a:srgbClr val="BACCDE"/>
      </a:hlink>
      <a:folHlink>
        <a:srgbClr val="85A5C5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think-cell Master</vt:lpstr>
      <vt:lpstr>think-cell Slide</vt:lpstr>
      <vt:lpstr>Chart</vt:lpstr>
      <vt:lpstr>Area Char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1-29T16:49:48Z</dcterms:created>
  <dcterms:modified xsi:type="dcterms:W3CDTF">2013-11-29T16:50:07Z</dcterms:modified>
</cp:coreProperties>
</file>